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7.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5.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heme/themeOverride7.xml" ContentType="application/vnd.openxmlformats-officedocument.themeOverr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heme/themeOverride8.xml" ContentType="application/vnd.openxmlformats-officedocument.themeOverr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9.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0.xml" ContentType="application/vnd.openxmlformats-officedocument.themeOverride+xml"/>
  <Override PartName="/ppt/notesSlides/notesSlide77.xml" ContentType="application/vnd.openxmlformats-officedocument.presentationml.notesSlide+xml"/>
  <Override PartName="/ppt/theme/themeOverride11.xml" ContentType="application/vnd.openxmlformats-officedocument.themeOverride+xml"/>
  <Override PartName="/ppt/notesSlides/notesSlide78.xml" ContentType="application/vnd.openxmlformats-officedocument.presentationml.notesSlide+xml"/>
  <Override PartName="/ppt/theme/themeOverride12.xml" ContentType="application/vnd.openxmlformats-officedocument.themeOverr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heme/themeOverride13.xml" ContentType="application/vnd.openxmlformats-officedocument.themeOverr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0.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heme/themeOverride14.xml" ContentType="application/vnd.openxmlformats-officedocument.themeOverr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heme/themeOverride15.xml" ContentType="application/vnd.openxmlformats-officedocument.themeOverride+xml"/>
  <Override PartName="/ppt/notesSlides/notesSlide125.xml" ContentType="application/vnd.openxmlformats-officedocument.presentationml.notesSlide+xml"/>
  <Override PartName="/ppt/theme/themeOverride16.xml" ContentType="application/vnd.openxmlformats-officedocument.themeOverr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53"/>
  </p:notesMasterIdLst>
  <p:sldIdLst>
    <p:sldId id="490" r:id="rId19"/>
    <p:sldId id="449" r:id="rId20"/>
    <p:sldId id="508" r:id="rId21"/>
    <p:sldId id="509" r:id="rId22"/>
    <p:sldId id="257" r:id="rId23"/>
    <p:sldId id="258" r:id="rId24"/>
    <p:sldId id="259" r:id="rId25"/>
    <p:sldId id="578" r:id="rId26"/>
    <p:sldId id="400"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49"/>
          </p14:sldIdLst>
        </p14:section>
        <p14:section name="Cloud Applications" id="{7AE03DFD-9E80-6A40-B3CC-2C2B6C81565F}">
          <p14:sldIdLst>
            <p14:sldId id="508"/>
            <p14:sldId id="509"/>
            <p14:sldId id="257"/>
            <p14:sldId id="258"/>
            <p14:sldId id="259"/>
            <p14:sldId id="578"/>
            <p14:sldId id="400"/>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p:restoredTop sz="78366" autoAdjust="0"/>
  </p:normalViewPr>
  <p:slideViewPr>
    <p:cSldViewPr snapToGrid="0" snapToObjects="1">
      <p:cViewPr varScale="1">
        <p:scale>
          <a:sx n="95" d="100"/>
          <a:sy n="95" d="100"/>
        </p:scale>
        <p:origin x="675" y="58"/>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63" Type="http://schemas.openxmlformats.org/officeDocument/2006/relationships/slide" Target="slides/slide45.xml"/><Relationship Id="rId84" Type="http://schemas.openxmlformats.org/officeDocument/2006/relationships/slide" Target="slides/slide66.xml"/><Relationship Id="rId138" Type="http://schemas.openxmlformats.org/officeDocument/2006/relationships/slide" Target="slides/slide120.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5" Type="http://schemas.openxmlformats.org/officeDocument/2006/relationships/slideMaster" Target="slideMasters/slideMaster5.xml"/><Relationship Id="rId95" Type="http://schemas.openxmlformats.org/officeDocument/2006/relationships/slide" Target="slides/slide77.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80" Type="http://schemas.openxmlformats.org/officeDocument/2006/relationships/slide" Target="slides/slide62.xml"/><Relationship Id="rId85" Type="http://schemas.openxmlformats.org/officeDocument/2006/relationships/slide" Target="slides/slide67.xml"/><Relationship Id="rId150" Type="http://schemas.openxmlformats.org/officeDocument/2006/relationships/slide" Target="slides/slide132.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slide" Target="slides/slide106.xml"/><Relationship Id="rId129" Type="http://schemas.openxmlformats.org/officeDocument/2006/relationships/slide" Target="slides/slide11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40" Type="http://schemas.openxmlformats.org/officeDocument/2006/relationships/slide" Target="slides/slide122.xml"/><Relationship Id="rId145" Type="http://schemas.openxmlformats.org/officeDocument/2006/relationships/slide" Target="slides/slide12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slide" Target="slides/slide10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0" Type="http://schemas.openxmlformats.org/officeDocument/2006/relationships/slide" Target="slides/slide112.xml"/><Relationship Id="rId135" Type="http://schemas.openxmlformats.org/officeDocument/2006/relationships/slide" Target="slides/slide117.xml"/><Relationship Id="rId151" Type="http://schemas.openxmlformats.org/officeDocument/2006/relationships/slide" Target="slides/slide133.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141" Type="http://schemas.openxmlformats.org/officeDocument/2006/relationships/slide" Target="slides/slide123.xml"/><Relationship Id="rId146" Type="http://schemas.openxmlformats.org/officeDocument/2006/relationships/slide" Target="slides/slide128.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slide" Target="slides/slide118.xml"/><Relationship Id="rId157" Type="http://schemas.openxmlformats.org/officeDocument/2006/relationships/tableStyles" Target="tableStyles.xml"/><Relationship Id="rId61" Type="http://schemas.openxmlformats.org/officeDocument/2006/relationships/slide" Target="slides/slide43.xml"/><Relationship Id="rId82" Type="http://schemas.openxmlformats.org/officeDocument/2006/relationships/slide" Target="slides/slide64.xml"/><Relationship Id="rId152" Type="http://schemas.openxmlformats.org/officeDocument/2006/relationships/slide" Target="slides/slide13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3" Type="http://schemas.openxmlformats.org/officeDocument/2006/relationships/slideMaster" Target="slideMasters/slideMaster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137" Type="http://schemas.openxmlformats.org/officeDocument/2006/relationships/slide" Target="slides/slide11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48" Type="http://schemas.openxmlformats.org/officeDocument/2006/relationships/slide" Target="slides/slide130.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8.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90" Type="http://schemas.openxmlformats.org/officeDocument/2006/relationships/slide" Target="slides/slide72.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alihhussain/AzureTemplates/tree/master/osp-engagement/10</a:t>
            </a:r>
            <a:r>
              <a:rPr lang="en-US" baseline="30000" dirty="0"/>
              <a:t>th</a:t>
            </a:r>
            <a:endParaRPr lang="en-US" dirty="0"/>
          </a:p>
          <a:p>
            <a:r>
              <a:rPr lang="en-US" dirty="0"/>
              <a:t>https://github.com/Azure</a:t>
            </a:r>
            <a:r>
              <a:rPr lang="en-US"/>
              <a:t>/blackbelt-aks-hackfest</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8/28/2018 8:4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2</a:t>
            </a:fld>
            <a:endParaRPr lang="en-US"/>
          </a:p>
        </p:txBody>
      </p:sp>
    </p:spTree>
    <p:extLst>
      <p:ext uri="{BB962C8B-B14F-4D97-AF65-F5344CB8AC3E}">
        <p14:creationId xmlns:p14="http://schemas.microsoft.com/office/powerpoint/2010/main" val="409993002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3</a:t>
            </a:fld>
            <a:endParaRPr lang="en-US"/>
          </a:p>
        </p:txBody>
      </p:sp>
    </p:spTree>
    <p:extLst>
      <p:ext uri="{BB962C8B-B14F-4D97-AF65-F5344CB8AC3E}">
        <p14:creationId xmlns:p14="http://schemas.microsoft.com/office/powerpoint/2010/main" val="38320620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8</a:t>
            </a:fld>
            <a:endParaRPr lang="en-US"/>
          </a:p>
        </p:txBody>
      </p:sp>
    </p:spTree>
    <p:extLst>
      <p:ext uri="{BB962C8B-B14F-4D97-AF65-F5344CB8AC3E}">
        <p14:creationId xmlns:p14="http://schemas.microsoft.com/office/powerpoint/2010/main" val="30002859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8/2018 8:4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8/2018 8:4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8/2018 8:4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8/28/2018 8:47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3</a:t>
            </a:fld>
            <a:endParaRPr lang="en-US"/>
          </a:p>
        </p:txBody>
      </p:sp>
    </p:spTree>
    <p:extLst>
      <p:ext uri="{BB962C8B-B14F-4D97-AF65-F5344CB8AC3E}">
        <p14:creationId xmlns:p14="http://schemas.microsoft.com/office/powerpoint/2010/main" val="321593533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28/2018 8:4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4</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8/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8/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7</a:t>
            </a:fld>
            <a:endParaRPr lang="en-US"/>
          </a:p>
        </p:txBody>
      </p:sp>
    </p:spTree>
    <p:extLst>
      <p:ext uri="{BB962C8B-B14F-4D97-AF65-F5344CB8AC3E}">
        <p14:creationId xmlns:p14="http://schemas.microsoft.com/office/powerpoint/2010/main" val="4728022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28/2018 8:4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28/2018 8:4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8/28/2018 8:47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8/28/2018 8:47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2</a:t>
            </a:fld>
            <a:endParaRPr lang="en-US"/>
          </a:p>
        </p:txBody>
      </p:sp>
    </p:spTree>
    <p:extLst>
      <p:ext uri="{BB962C8B-B14F-4D97-AF65-F5344CB8AC3E}">
        <p14:creationId xmlns:p14="http://schemas.microsoft.com/office/powerpoint/2010/main" val="1938826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8/28/2018 8:47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2</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5</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7</a:t>
            </a:fld>
            <a:endParaRPr lang="en-US"/>
          </a:p>
        </p:txBody>
      </p:sp>
    </p:spTree>
    <p:extLst>
      <p:ext uri="{BB962C8B-B14F-4D97-AF65-F5344CB8AC3E}">
        <p14:creationId xmlns:p14="http://schemas.microsoft.com/office/powerpoint/2010/main" val="196311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8</a:t>
            </a:fld>
            <a:endParaRPr lang="en-US"/>
          </a:p>
        </p:txBody>
      </p:sp>
    </p:spTree>
    <p:extLst>
      <p:ext uri="{BB962C8B-B14F-4D97-AF65-F5344CB8AC3E}">
        <p14:creationId xmlns:p14="http://schemas.microsoft.com/office/powerpoint/2010/main" val="2574134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149339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2303427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3</a:t>
            </a:fld>
            <a:endParaRPr lang="en-US"/>
          </a:p>
        </p:txBody>
      </p:sp>
    </p:spTree>
    <p:extLst>
      <p:ext uri="{BB962C8B-B14F-4D97-AF65-F5344CB8AC3E}">
        <p14:creationId xmlns:p14="http://schemas.microsoft.com/office/powerpoint/2010/main" val="35913531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5</a:t>
            </a:fld>
            <a:endParaRPr lang="en-US"/>
          </a:p>
        </p:txBody>
      </p:sp>
    </p:spTree>
    <p:extLst>
      <p:ext uri="{BB962C8B-B14F-4D97-AF65-F5344CB8AC3E}">
        <p14:creationId xmlns:p14="http://schemas.microsoft.com/office/powerpoint/2010/main" val="23993752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a:t>
            </a:fld>
            <a:endParaRPr lang="en-US"/>
          </a:p>
        </p:txBody>
      </p:sp>
    </p:spTree>
    <p:extLst>
      <p:ext uri="{BB962C8B-B14F-4D97-AF65-F5344CB8AC3E}">
        <p14:creationId xmlns:p14="http://schemas.microsoft.com/office/powerpoint/2010/main" val="10752448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2</a:t>
            </a:fld>
            <a:endParaRPr lang="en-US"/>
          </a:p>
        </p:txBody>
      </p:sp>
    </p:spTree>
    <p:extLst>
      <p:ext uri="{BB962C8B-B14F-4D97-AF65-F5344CB8AC3E}">
        <p14:creationId xmlns:p14="http://schemas.microsoft.com/office/powerpoint/2010/main" val="2417050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3</a:t>
            </a:fld>
            <a:endParaRPr lang="en-US"/>
          </a:p>
        </p:txBody>
      </p:sp>
    </p:spTree>
    <p:extLst>
      <p:ext uri="{BB962C8B-B14F-4D97-AF65-F5344CB8AC3E}">
        <p14:creationId xmlns:p14="http://schemas.microsoft.com/office/powerpoint/2010/main" val="2818607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4</a:t>
            </a:fld>
            <a:endParaRPr lang="en-US"/>
          </a:p>
        </p:txBody>
      </p:sp>
    </p:spTree>
    <p:extLst>
      <p:ext uri="{BB962C8B-B14F-4D97-AF65-F5344CB8AC3E}">
        <p14:creationId xmlns:p14="http://schemas.microsoft.com/office/powerpoint/2010/main" val="41111370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6</a:t>
            </a:fld>
            <a:endParaRPr lang="en-US"/>
          </a:p>
        </p:txBody>
      </p:sp>
    </p:spTree>
    <p:extLst>
      <p:ext uri="{BB962C8B-B14F-4D97-AF65-F5344CB8AC3E}">
        <p14:creationId xmlns:p14="http://schemas.microsoft.com/office/powerpoint/2010/main" val="29847870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7</a:t>
            </a:fld>
            <a:endParaRPr lang="en-US"/>
          </a:p>
        </p:txBody>
      </p:sp>
    </p:spTree>
    <p:extLst>
      <p:ext uri="{BB962C8B-B14F-4D97-AF65-F5344CB8AC3E}">
        <p14:creationId xmlns:p14="http://schemas.microsoft.com/office/powerpoint/2010/main" val="8052456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9</a:t>
            </a:fld>
            <a:endParaRPr lang="en-US"/>
          </a:p>
        </p:txBody>
      </p:sp>
    </p:spTree>
    <p:extLst>
      <p:ext uri="{BB962C8B-B14F-4D97-AF65-F5344CB8AC3E}">
        <p14:creationId xmlns:p14="http://schemas.microsoft.com/office/powerpoint/2010/main" val="3433964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0</a:t>
            </a:fld>
            <a:endParaRPr lang="en-US"/>
          </a:p>
        </p:txBody>
      </p:sp>
    </p:spTree>
    <p:extLst>
      <p:ext uri="{BB962C8B-B14F-4D97-AF65-F5344CB8AC3E}">
        <p14:creationId xmlns:p14="http://schemas.microsoft.com/office/powerpoint/2010/main" val="14451165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1</a:t>
            </a:fld>
            <a:endParaRPr lang="en-US"/>
          </a:p>
        </p:txBody>
      </p:sp>
    </p:spTree>
    <p:extLst>
      <p:ext uri="{BB962C8B-B14F-4D97-AF65-F5344CB8AC3E}">
        <p14:creationId xmlns:p14="http://schemas.microsoft.com/office/powerpoint/2010/main" val="2035706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8/28/2018 8:47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9</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8/2018 8:4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500827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88</a:t>
            </a:fld>
            <a:endParaRPr lang="en-US"/>
          </a:p>
        </p:txBody>
      </p:sp>
    </p:spTree>
    <p:extLst>
      <p:ext uri="{BB962C8B-B14F-4D97-AF65-F5344CB8AC3E}">
        <p14:creationId xmlns:p14="http://schemas.microsoft.com/office/powerpoint/2010/main" val="11040610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8/28/2018 8:4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3205282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8: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8/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8/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58190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8/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8/28/20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theme" Target="../theme/theme17.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8" Type="http://schemas.openxmlformats.org/officeDocument/2006/relationships/slideLayout" Target="../slideLayouts/slideLayout330.xml"/><Relationship Id="rId3" Type="http://schemas.openxmlformats.org/officeDocument/2006/relationships/slideLayout" Target="../slideLayouts/slideLayout3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8/28/20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8/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8/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9.xml"/><Relationship Id="rId1" Type="http://schemas.openxmlformats.org/officeDocument/2006/relationships/themeOverride" Target="../theme/themeOverride4.xml"/></Relationships>
</file>

<file path=ppt/slides/_rels/slide100.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100.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101.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101.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8.xml"/><Relationship Id="rId1" Type="http://schemas.openxmlformats.org/officeDocument/2006/relationships/slideLayout" Target="../slideLayouts/slideLayout144.xml"/></Relationships>
</file>

<file path=ppt/slides/_rels/slide109.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0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7.xml"/></Relationships>
</file>

<file path=ppt/slides/_rels/slide110.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10.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111.xml"/><Relationship Id="rId16" Type="http://schemas.microsoft.com/office/2007/relationships/hdphoto" Target="../media/hdphoto7.wdp"/><Relationship Id="rId1" Type="http://schemas.openxmlformats.org/officeDocument/2006/relationships/slideLayout" Target="../slideLayouts/slideLayout37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2.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70.xml"/><Relationship Id="rId12" Type="http://schemas.openxmlformats.org/officeDocument/2006/relationships/image" Target="../media/image208.png"/><Relationship Id="rId2" Type="http://schemas.openxmlformats.org/officeDocument/2006/relationships/notesSlide" Target="../notesSlides/notesSlide112.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207.png"/><Relationship Id="rId5" Type="http://schemas.openxmlformats.org/officeDocument/2006/relationships/slide" Target="slide67.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49.tiff"/></Relationships>
</file>

<file path=ppt/slides/_rels/slide11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11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114.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118.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4.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93.xml"/><Relationship Id="rId1" Type="http://schemas.openxmlformats.org/officeDocument/2006/relationships/themeOverride" Target="../theme/themeOverride14.xml"/><Relationship Id="rId4" Type="http://schemas.openxmlformats.org/officeDocument/2006/relationships/image" Target="../media/image212.png"/></Relationships>
</file>

<file path=ppt/slides/_rels/slide12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4.xml"/><Relationship Id="rId1" Type="http://schemas.openxmlformats.org/officeDocument/2006/relationships/slideLayout" Target="../slideLayouts/slideLayout139.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126.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notesSlide" Target="../notesSlides/notesSlide126.xml"/><Relationship Id="rId7" Type="http://schemas.openxmlformats.org/officeDocument/2006/relationships/image" Target="../media/image218.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7.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20.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18.xml"/></Relationships>
</file>

<file path=ppt/slides/_rels/slide128.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28.xml"/><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29.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7.xml"/></Relationships>
</file>

<file path=ppt/slides/_rels/slide130.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30.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2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337.xml"/><Relationship Id="rId4" Type="http://schemas.openxmlformats.org/officeDocument/2006/relationships/image" Target="../media/image59.svg"/></Relationships>
</file>

<file path=ppt/slides/_rels/slide1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337.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9.xml"/><Relationship Id="rId1" Type="http://schemas.openxmlformats.org/officeDocument/2006/relationships/slideLayout" Target="../slideLayouts/slideLayout337.xml"/><Relationship Id="rId5" Type="http://schemas.openxmlformats.org/officeDocument/2006/relationships/image" Target="../media/image66.sv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image" Target="../media/image48.jpeg"/><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20.xml"/><Relationship Id="rId2" Type="http://schemas.openxmlformats.org/officeDocument/2006/relationships/notesSlide" Target="../notesSlides/notesSlide20.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microsoft.com/office/2007/relationships/hdphoto" Target="../media/hdphoto2.wdp"/><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67.png"/><Relationship Id="rId9" Type="http://schemas.openxmlformats.org/officeDocument/2006/relationships/image" Target="../media/image53.svg"/><Relationship Id="rId14" Type="http://schemas.openxmlformats.org/officeDocument/2006/relationships/slide" Target="slide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7.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3.xml"/><Relationship Id="rId1" Type="http://schemas.openxmlformats.org/officeDocument/2006/relationships/slideLayout" Target="../slideLayouts/slideLayout337.xml"/></Relationships>
</file>

<file path=ppt/slides/_rels/slide2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4.xml"/><Relationship Id="rId1" Type="http://schemas.openxmlformats.org/officeDocument/2006/relationships/slideLayout" Target="../slideLayouts/slideLayout33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4.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2.xml"/><Relationship Id="rId2" Type="http://schemas.openxmlformats.org/officeDocument/2006/relationships/notesSlide" Target="../notesSlides/notesSlide26.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26.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27.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8.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29.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29.xml"/><Relationship Id="rId16" Type="http://schemas.openxmlformats.org/officeDocument/2006/relationships/slide" Target="slide26.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4.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3.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9.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0.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9.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7.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0.xml"/></Relationships>
</file>

<file path=ppt/slides/_rels/slide3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02.svg"/><Relationship Id="rId3" Type="http://schemas.openxmlformats.org/officeDocument/2006/relationships/slide" Target="slide29.xml"/><Relationship Id="rId7" Type="http://schemas.openxmlformats.org/officeDocument/2006/relationships/slide" Target="slide69.xml"/><Relationship Id="rId12"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slide" Target="slide67.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1.xml"/><Relationship Id="rId14" Type="http://schemas.openxmlformats.org/officeDocument/2006/relationships/image" Target="../media/image103.png"/></Relationships>
</file>

<file path=ppt/slides/_rels/slide3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9.xml"/><Relationship Id="rId7" Type="http://schemas.openxmlformats.org/officeDocument/2006/relationships/image" Target="../media/image98.svg"/><Relationship Id="rId2" Type="http://schemas.openxmlformats.org/officeDocument/2006/relationships/notesSlide" Target="../notesSlides/notesSlide32.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1.xml"/><Relationship Id="rId5" Type="http://schemas.openxmlformats.org/officeDocument/2006/relationships/image" Target="../media/image49.tiff"/><Relationship Id="rId10" Type="http://schemas.openxmlformats.org/officeDocument/2006/relationships/slide" Target="slide70.xml"/><Relationship Id="rId4" Type="http://schemas.openxmlformats.org/officeDocument/2006/relationships/image" Target="../media/image105.tiff"/><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4.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4.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9.xml"/><Relationship Id="rId7" Type="http://schemas.openxmlformats.org/officeDocument/2006/relationships/slide" Target="slide67.xml"/><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1.xml"/><Relationship Id="rId4" Type="http://schemas.openxmlformats.org/officeDocument/2006/relationships/image" Target="../media/image106.png"/><Relationship Id="rId9" Type="http://schemas.openxmlformats.org/officeDocument/2006/relationships/slide" Target="slide70.xml"/></Relationships>
</file>

<file path=ppt/slides/_rels/slide36.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9.xml"/><Relationship Id="rId3" Type="http://schemas.openxmlformats.org/officeDocument/2006/relationships/slide" Target="slide29.xml"/><Relationship Id="rId7" Type="http://schemas.openxmlformats.org/officeDocument/2006/relationships/image" Target="../media/image98.svg"/><Relationship Id="rId12" Type="http://schemas.openxmlformats.org/officeDocument/2006/relationships/slide" Target="slide6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71.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7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9.xml"/><Relationship Id="rId1" Type="http://schemas.openxmlformats.org/officeDocument/2006/relationships/slideLayout" Target="../slideLayouts/slideLayout16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56.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52.xml"/><Relationship Id="rId17" Type="http://schemas.openxmlformats.org/officeDocument/2006/relationships/slide" Target="slide2.xml"/><Relationship Id="rId2" Type="http://schemas.openxmlformats.org/officeDocument/2006/relationships/notesSlide" Target="../notesSlides/notesSlide4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6.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45.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2.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4.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6.xml"/></Relationships>
</file>

<file path=ppt/slides/_rels/slide46.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21.svg"/><Relationship Id="rId2" Type="http://schemas.openxmlformats.org/officeDocument/2006/relationships/notesSlide" Target="../notesSlides/notesSlide46.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20.png"/><Relationship Id="rId5" Type="http://schemas.openxmlformats.org/officeDocument/2006/relationships/slide" Target="slide44.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7.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48.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48.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49.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6.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2.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44.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7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4.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2.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3.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53.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2.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4.xml"/><Relationship Id="rId30" Type="http://schemas.openxmlformats.org/officeDocument/2006/relationships/slide" Target="slide71.xml"/></Relationships>
</file>

<file path=ppt/slides/_rels/slide5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33.svg"/><Relationship Id="rId2" Type="http://schemas.openxmlformats.org/officeDocument/2006/relationships/notesSlide" Target="../notesSlides/notesSlide54.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32.png"/><Relationship Id="rId5" Type="http://schemas.openxmlformats.org/officeDocument/2006/relationships/slide" Target="slide44.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5.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5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135.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134.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57.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2.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4.xml"/><Relationship Id="rId30" Type="http://schemas.openxmlformats.org/officeDocument/2006/relationships/slide" Target="slide71.xml"/></Relationships>
</file>

<file path=ppt/slides/_rels/slide58.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6.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image" Target="../media/image139.svg"/><Relationship Id="rId11" Type="http://schemas.openxmlformats.org/officeDocument/2006/relationships/slide" Target="slide44.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71.xml"/></Relationships>
</file>

<file path=ppt/slides/_rels/slide59.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2.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4.xml"/><Relationship Id="rId2" Type="http://schemas.openxmlformats.org/officeDocument/2006/relationships/notesSlide" Target="../notesSlides/notesSlide59.xml"/><Relationship Id="rId16" Type="http://schemas.openxmlformats.org/officeDocument/2006/relationships/image" Target="../media/image153.svg"/><Relationship Id="rId20"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49.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6.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4.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55.gif"/><Relationship Id="rId7" Type="http://schemas.openxmlformats.org/officeDocument/2006/relationships/slide" Target="slide5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6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3.xml"/><Relationship Id="rId1" Type="http://schemas.openxmlformats.org/officeDocument/2006/relationships/slideLayout" Target="../slideLayouts/slideLayout162.xml"/><Relationship Id="rId4" Type="http://schemas.openxmlformats.org/officeDocument/2006/relationships/image" Target="../media/image157.tif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6.xml"/><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7.xml"/><Relationship Id="rId1" Type="http://schemas.openxmlformats.org/officeDocument/2006/relationships/slideLayout" Target="../slideLayouts/slideLayout1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44.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0.xml"/><Relationship Id="rId1" Type="http://schemas.openxmlformats.org/officeDocument/2006/relationships/slideLayout" Target="../slideLayouts/slideLayout16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1.xml"/><Relationship Id="rId1" Type="http://schemas.openxmlformats.org/officeDocument/2006/relationships/slideLayout" Target="../slideLayouts/slideLayout16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76.xml"/><Relationship Id="rId18" Type="http://schemas.openxmlformats.org/officeDocument/2006/relationships/slide" Target="slide63.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4.xml"/><Relationship Id="rId2" Type="http://schemas.openxmlformats.org/officeDocument/2006/relationships/notesSlide" Target="../notesSlides/notesSlide76.xml"/><Relationship Id="rId16" Type="http://schemas.openxmlformats.org/officeDocument/2006/relationships/slide" Target="slide67.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70.xml"/><Relationship Id="rId10" Type="http://schemas.openxmlformats.org/officeDocument/2006/relationships/slide" Target="slide71.xml"/><Relationship Id="rId19" Type="http://schemas.openxmlformats.org/officeDocument/2006/relationships/slide" Target="slide2.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6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51.xml"/><Relationship Id="rId1" Type="http://schemas.openxmlformats.org/officeDocument/2006/relationships/themeOverride" Target="../theme/themeOverride1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49.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51.xml"/><Relationship Id="rId1" Type="http://schemas.openxmlformats.org/officeDocument/2006/relationships/themeOverride" Target="../theme/themeOverride12.xml"/></Relationships>
</file>

<file path=ppt/slides/_rels/slide8.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_rels/slide80.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6.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70.xml"/><Relationship Id="rId2" Type="http://schemas.openxmlformats.org/officeDocument/2006/relationships/notesSlide" Target="../notesSlides/notesSlide80.xml"/><Relationship Id="rId1" Type="http://schemas.openxmlformats.org/officeDocument/2006/relationships/slideLayout" Target="../slideLayouts/slideLayout337.xml"/><Relationship Id="rId6" Type="http://schemas.openxmlformats.org/officeDocument/2006/relationships/image" Target="../media/image165.png"/><Relationship Id="rId11" Type="http://schemas.openxmlformats.org/officeDocument/2006/relationships/slide" Target="slide69.xml"/><Relationship Id="rId5" Type="http://schemas.openxmlformats.org/officeDocument/2006/relationships/image" Target="../media/image164.png"/><Relationship Id="rId10" Type="http://schemas.openxmlformats.org/officeDocument/2006/relationships/slide" Target="slide67.xml"/><Relationship Id="rId4" Type="http://schemas.openxmlformats.org/officeDocument/2006/relationships/image" Target="../media/image163.png"/><Relationship Id="rId9"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2.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4.xml"/><Relationship Id="rId1" Type="http://schemas.openxmlformats.org/officeDocument/2006/relationships/slideLayout" Target="../slideLayouts/slideLayout337.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69.gif"/><Relationship Id="rId7" Type="http://schemas.openxmlformats.org/officeDocument/2006/relationships/slide" Target="slide67.xml"/><Relationship Id="rId2" Type="http://schemas.openxmlformats.org/officeDocument/2006/relationships/notesSlide" Target="../notesSlides/notesSlide85.xml"/><Relationship Id="rId1" Type="http://schemas.openxmlformats.org/officeDocument/2006/relationships/slideLayout" Target="../slideLayouts/slideLayout337.xml"/><Relationship Id="rId6" Type="http://schemas.openxmlformats.org/officeDocument/2006/relationships/slide" Target="slide66.xml"/><Relationship Id="rId5" Type="http://schemas.openxmlformats.org/officeDocument/2006/relationships/image" Target="../media/image98.svg"/><Relationship Id="rId10" Type="http://schemas.openxmlformats.org/officeDocument/2006/relationships/slide" Target="slide76.xml"/><Relationship Id="rId4" Type="http://schemas.openxmlformats.org/officeDocument/2006/relationships/image" Target="../media/image97.png"/><Relationship Id="rId9" Type="http://schemas.openxmlformats.org/officeDocument/2006/relationships/slide" Target="slide70.xml"/></Relationships>
</file>

<file path=ppt/slides/_rels/slide86.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7.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71.xml"/></Relationships>
</file>

<file path=ppt/slides/_rels/slide8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9.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94.xml"/></Relationships>
</file>

<file path=ppt/slides/_rels/slide9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173.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6.xml"/></Relationships>
</file>

<file path=ppt/slides/_rels/slide9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7.xml"/><Relationship Id="rId2" Type="http://schemas.openxmlformats.org/officeDocument/2006/relationships/notesSlide" Target="../notesSlides/notesSlide94.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6.xml"/><Relationship Id="rId4" Type="http://schemas.openxmlformats.org/officeDocument/2006/relationships/image" Target="../media/image175.png"/><Relationship Id="rId9" Type="http://schemas.openxmlformats.org/officeDocument/2006/relationships/slide" Target="slide7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350.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6.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178.svg"/><Relationship Id="rId14" Type="http://schemas.openxmlformats.org/officeDocument/2006/relationships/slide" Target="slide70.xml"/></Relationships>
</file>

<file path=ppt/slides/_rels/slide9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7.xml"/><Relationship Id="rId1" Type="http://schemas.openxmlformats.org/officeDocument/2006/relationships/slideLayout" Target="../slideLayouts/slideLayout337.xml"/><Relationship Id="rId4" Type="http://schemas.openxmlformats.org/officeDocument/2006/relationships/image" Target="../media/image180.svg"/></Relationships>
</file>

<file path=ppt/slides/_rels/slide9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8.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9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99.xml"/><Relationship Id="rId1" Type="http://schemas.openxmlformats.org/officeDocument/2006/relationships/slideLayout" Target="../slideLayouts/slideLayout337.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8"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3"/>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3"/>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3"/>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3"/>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800" b="1" dirty="0">
                <a:solidFill>
                  <a:srgbClr val="666666"/>
                </a:solidFill>
                <a:latin typeface="Segoe UI Semibold" panose="020B0502040204020203" pitchFamily="34" charset="0"/>
                <a:cs typeface="Segoe UI Semibold" panose="020B0502040204020203" pitchFamily="34" charset="0"/>
              </a:rPr>
              <a:t>Agenda: </a:t>
            </a:r>
            <a:r>
              <a:rPr lang="en-US" sz="4800" b="1" dirty="0">
                <a:solidFill>
                  <a:srgbClr val="666666"/>
                </a:solidFill>
                <a:latin typeface="Segoe UI Semibold" panose="020B0502040204020203" pitchFamily="34" charset="0"/>
                <a:cs typeface="Segoe UI Semibold" panose="020B0502040204020203" pitchFamily="34" charset="0"/>
              </a:rPr>
              <a:t>Topics</a:t>
            </a:r>
          </a:p>
        </p:txBody>
      </p:sp>
      <p:sp>
        <p:nvSpPr>
          <p:cNvPr id="2" name="Rectangle 1">
            <a:extLst>
              <a:ext uri="{FF2B5EF4-FFF2-40B4-BE49-F238E27FC236}">
                <a16:creationId xmlns:a16="http://schemas.microsoft.com/office/drawing/2014/main" id="{F1C5E4B2-BE73-4423-9074-2F178D6D0A1C}"/>
              </a:ext>
            </a:extLst>
          </p:cNvPr>
          <p:cNvSpPr/>
          <p:nvPr/>
        </p:nvSpPr>
        <p:spPr>
          <a:xfrm>
            <a:off x="971920" y="1588062"/>
            <a:ext cx="11179823" cy="4093428"/>
          </a:xfrm>
          <a:prstGeom prst="rect">
            <a:avLst/>
          </a:prstGeom>
        </p:spPr>
        <p:txBody>
          <a:bodyPr wrap="square">
            <a:spAutoFit/>
          </a:bodyPr>
          <a:lstStyle/>
          <a:p>
            <a:pPr marL="285750" indent="-285750">
              <a:buFont typeface="Arial" panose="020B0604020202020204" pitchFamily="34" charset="0"/>
              <a:buChar char="•"/>
            </a:pPr>
            <a:r>
              <a:rPr lang="en-US" sz="3200" dirty="0">
                <a:solidFill>
                  <a:srgbClr val="666666"/>
                </a:solidFill>
                <a:latin typeface="Segoe UI" panose="020B0502040204020203" pitchFamily="34" charset="0"/>
                <a:cs typeface="Segoe UI" panose="020B0502040204020203" pitchFamily="34" charset="0"/>
              </a:rPr>
              <a:t>Cloud Native Applications, Containers, and Docker</a:t>
            </a:r>
          </a:p>
          <a:p>
            <a:pPr marL="285750" indent="-285750">
              <a:buFont typeface="Arial" panose="020B0604020202020204" pitchFamily="34" charset="0"/>
              <a:buChar char="•"/>
            </a:pPr>
            <a:endParaRPr lang="en-US" sz="1200" dirty="0">
              <a:solidFill>
                <a:srgbClr val="666666"/>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3200" dirty="0">
                <a:solidFill>
                  <a:srgbClr val="666666"/>
                </a:solidFill>
                <a:latin typeface="Segoe UI" panose="020B0502040204020203" pitchFamily="34" charset="0"/>
                <a:cs typeface="Segoe UI" panose="020B0502040204020203" pitchFamily="34" charset="0"/>
              </a:rPr>
              <a:t>Kubernetes Overview, Azure Kubernetes Service, Kubernetes Concepts</a:t>
            </a:r>
          </a:p>
          <a:p>
            <a:pPr marL="285750" indent="-285750">
              <a:buFont typeface="Arial" panose="020B0604020202020204" pitchFamily="34" charset="0"/>
              <a:buChar char="•"/>
            </a:pPr>
            <a:endParaRPr lang="en-US" sz="1200" dirty="0">
              <a:solidFill>
                <a:srgbClr val="666666"/>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3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a:p>
            <a:pPr marL="285750" indent="-285750">
              <a:buFont typeface="Arial" panose="020B0604020202020204" pitchFamily="34" charset="0"/>
              <a:buChar char="•"/>
            </a:pPr>
            <a:endParaRPr lang="en-US" sz="1200" dirty="0">
              <a:solidFill>
                <a:srgbClr val="666666"/>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3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3200" dirty="0" err="1">
                <a:solidFill>
                  <a:srgbClr val="666666"/>
                </a:solidFill>
                <a:latin typeface="Segoe UI" panose="020B0502040204020203" pitchFamily="34" charset="0"/>
                <a:cs typeface="Segoe UI" panose="020B0502040204020203" pitchFamily="34" charset="0"/>
              </a:rPr>
              <a:t>CosmosDB</a:t>
            </a:r>
            <a:r>
              <a:rPr lang="en-US" sz="3200" dirty="0">
                <a:solidFill>
                  <a:srgbClr val="666666"/>
                </a:solidFill>
                <a:latin typeface="Segoe UI" panose="020B0502040204020203" pitchFamily="34" charset="0"/>
                <a:cs typeface="Segoe UI" panose="020B0502040204020203" pitchFamily="34" charset="0"/>
              </a:rPr>
              <a:t>)</a:t>
            </a:r>
            <a:endParaRPr lang="en-US" sz="3200" dirty="0"/>
          </a:p>
        </p:txBody>
      </p:sp>
    </p:spTree>
    <p:extLst>
      <p:ext uri="{BB962C8B-B14F-4D97-AF65-F5344CB8AC3E}">
        <p14:creationId xmlns:p14="http://schemas.microsoft.com/office/powerpoint/2010/main" val="3862509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977201"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3"/>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3"/>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3"/>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4"/>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3"/>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3"/>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3"/>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3"/>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3"/>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3670349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p:txBody>
          <a:bodyPr/>
          <a:lstStyle/>
          <a:p>
            <a:r>
              <a:rPr lang="en-US"/>
              <a:t>From traditional app to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568047" y="2005478"/>
            <a:ext cx="10934667" cy="3888690"/>
            <a:chOff x="628701" y="2121396"/>
            <a:chExt cx="11153930" cy="3966666"/>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9992490" y="2418312"/>
              <a:ext cx="1790141" cy="3669750"/>
              <a:chOff x="9992490" y="2418312"/>
              <a:chExt cx="1790141" cy="3669750"/>
            </a:xfrm>
          </p:grpSpPr>
          <p:sp>
            <p:nvSpPr>
              <p:cNvPr id="6" name="Shape 594">
                <a:extLst>
                  <a:ext uri="{FF2B5EF4-FFF2-40B4-BE49-F238E27FC236}">
                    <a16:creationId xmlns:a16="http://schemas.microsoft.com/office/drawing/2014/main" id="{83D40CF3-FEAA-473F-AFBC-94E5BEB20821}"/>
                  </a:ext>
                </a:extLst>
              </p:cNvPr>
              <p:cNvSpPr txBox="1"/>
              <p:nvPr/>
            </p:nvSpPr>
            <p:spPr>
              <a:xfrm>
                <a:off x="9992490" y="3868858"/>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a:t>
                </a:r>
                <a:br>
                  <a:rPr lang="en" sz="1568" b="1">
                    <a:latin typeface="Segoe UI" panose="020B0502040204020203" pitchFamily="34" charset="0"/>
                    <a:ea typeface="Quattrocento Sans"/>
                    <a:cs typeface="Segoe UI" panose="020B0502040204020203" pitchFamily="34" charset="0"/>
                    <a:sym typeface="Quattrocento Sans"/>
                  </a:rPr>
                </a:br>
                <a:r>
                  <a:rPr lang="en" sz="1568" b="1">
                    <a:latin typeface="Segoe UI" panose="020B0502040204020203" pitchFamily="34" charset="0"/>
                    <a:ea typeface="Quattrocento Sans"/>
                    <a:cs typeface="Segoe UI" panose="020B0502040204020203" pitchFamily="34" charset="0"/>
                    <a:sym typeface="Quattrocento Sans"/>
                  </a:rPr>
                  <a:t>Microservic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a:latin typeface="Segoe UI" panose="020B0502040204020203" pitchFamily="34" charset="0"/>
                    <a:ea typeface="Quattrocento Sans"/>
                    <a:cs typeface="Segoe UI" panose="020B0502040204020203" pitchFamily="34" charset="0"/>
                    <a:sym typeface="Quattrocento Sans"/>
                  </a:rPr>
                  <a:t>Add new services </a:t>
                </a:r>
                <a:r>
                  <a:rPr lang="en" sz="1568" spc="-39">
                    <a:latin typeface="Segoe UI" panose="020B0502040204020203" pitchFamily="34" charset="0"/>
                    <a:ea typeface="Quattrocento Sans"/>
                    <a:cs typeface="Segoe UI" panose="020B0502040204020203" pitchFamily="34" charset="0"/>
                    <a:sym typeface="Quattrocento Sans"/>
                  </a:rPr>
                  <a:t>or start peeling off</a:t>
                </a:r>
                <a:r>
                  <a:rPr lang="en" sz="1568">
                    <a:latin typeface="Segoe UI" panose="020B0502040204020203" pitchFamily="34" charset="0"/>
                    <a:ea typeface="Quattrocento Sans"/>
                    <a:cs typeface="Segoe UI" panose="020B0502040204020203" pitchFamily="34" charset="0"/>
                    <a:sym typeface="Quattrocento Sans"/>
                  </a:rPr>
                  <a:t> </a:t>
                </a:r>
                <a:r>
                  <a:rPr lang="en" sz="1568" spc="69">
                    <a:latin typeface="Segoe UI" panose="020B0502040204020203" pitchFamily="34" charset="0"/>
                    <a:ea typeface="Quattrocento Sans"/>
                    <a:cs typeface="Segoe UI" panose="020B0502040204020203" pitchFamily="34" charset="0"/>
                    <a:sym typeface="Quattrocento Sans"/>
                  </a:rPr>
                  <a:t>services from </a:t>
                </a:r>
                <a:r>
                  <a:rPr lang="en" sz="1568">
                    <a:latin typeface="Segoe UI" panose="020B0502040204020203" pitchFamily="34" charset="0"/>
                    <a:ea typeface="Quattrocento Sans"/>
                    <a:cs typeface="Segoe UI" panose="020B0502040204020203" pitchFamily="34" charset="0"/>
                    <a:sym typeface="Quattrocento Sans"/>
                  </a:rPr>
                  <a:t>monolith</a:t>
                </a:r>
                <a:r>
                  <a:rPr lang="en-US" sz="1568" err="1">
                    <a:latin typeface="Segoe UI" panose="020B0502040204020203" pitchFamily="34" charset="0"/>
                    <a:ea typeface="Quattrocento Sans"/>
                    <a:cs typeface="Segoe UI" panose="020B0502040204020203" pitchFamily="34" charset="0"/>
                    <a:sym typeface="Quattrocento Sans"/>
                  </a:rPr>
                  <a:t>ic</a:t>
                </a:r>
                <a:r>
                  <a:rPr lang="en" sz="1568">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10216604" y="2418312"/>
                <a:ext cx="1341913" cy="974980"/>
                <a:chOff x="4949049" y="1526863"/>
                <a:chExt cx="1593654" cy="1157697"/>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5697414" y="182643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p:nvPr/>
              </p:nvCxnSpPr>
              <p:spPr>
                <a:xfrm rot="10800000">
                  <a:off x="6188646" y="2010866"/>
                  <a:ext cx="72000" cy="168000"/>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5681039" y="2517868"/>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4949049" y="1526863"/>
                  <a:ext cx="1593654" cy="1157697"/>
                  <a:chOff x="4314197" y="1570215"/>
                  <a:chExt cx="1593654" cy="1157697"/>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4314197" y="1923527"/>
                    <a:ext cx="739188" cy="725553"/>
                    <a:chOff x="-633412" y="107156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5282600" y="1570215"/>
                    <a:ext cx="488462" cy="479415"/>
                    <a:chOff x="-633412" y="1071562"/>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6" name="Shape 623">
                      <a:extLst>
                        <a:ext uri="{FF2B5EF4-FFF2-40B4-BE49-F238E27FC236}">
                          <a16:creationId xmlns:a16="http://schemas.microsoft.com/office/drawing/2014/main" id="{E22C3C20-BC34-449D-9C42-FAC52750EC9C}"/>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5419389" y="2248497"/>
                    <a:ext cx="488462" cy="479415"/>
                    <a:chOff x="-633412" y="1071562"/>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3" name="Shape 631">
                      <a:extLst>
                        <a:ext uri="{FF2B5EF4-FFF2-40B4-BE49-F238E27FC236}">
                          <a16:creationId xmlns:a16="http://schemas.microsoft.com/office/drawing/2014/main" id="{134D94DC-1E18-4843-B1DD-2EF002D3E819}"/>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1" name="Group 60">
              <a:extLst>
                <a:ext uri="{FF2B5EF4-FFF2-40B4-BE49-F238E27FC236}">
                  <a16:creationId xmlns:a16="http://schemas.microsoft.com/office/drawing/2014/main" id="{4B4D821E-6EC3-48C0-9A16-38A9B6F00B83}"/>
                </a:ext>
              </a:extLst>
            </p:cNvPr>
            <p:cNvGrpSpPr/>
            <p:nvPr/>
          </p:nvGrpSpPr>
          <p:grpSpPr>
            <a:xfrm>
              <a:off x="5237775" y="2311170"/>
              <a:ext cx="1677952" cy="3776892"/>
              <a:chOff x="4924110" y="2311170"/>
              <a:chExt cx="1677952" cy="3776892"/>
            </a:xfrm>
          </p:grpSpPr>
          <p:sp>
            <p:nvSpPr>
              <p:cNvPr id="7" name="Shape 595">
                <a:extLst>
                  <a:ext uri="{FF2B5EF4-FFF2-40B4-BE49-F238E27FC236}">
                    <a16:creationId xmlns:a16="http://schemas.microsoft.com/office/drawing/2014/main" id="{2BBFF128-FB3A-4484-AA50-9BDAE15B921C}"/>
                  </a:ext>
                </a:extLst>
              </p:cNvPr>
              <p:cNvSpPr txBox="1"/>
              <p:nvPr/>
            </p:nvSpPr>
            <p:spPr>
              <a:xfrm>
                <a:off x="4924110" y="3868858"/>
                <a:ext cx="1677952"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Methodologi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Implement </a:t>
                </a:r>
                <a:r>
                  <a:rPr lang="en" sz="1568" spc="-29">
                    <a:latin typeface="Segoe UI" panose="020B0502040204020203" pitchFamily="34" charset="0"/>
                    <a:ea typeface="Quattrocento Sans"/>
                    <a:cs typeface="Segoe UI" panose="020B0502040204020203" pitchFamily="34" charset="0"/>
                    <a:sym typeface="Quattrocento Sans"/>
                  </a:rPr>
                  <a:t>CI/CD</a:t>
                </a:r>
                <a:br>
                  <a:rPr lang="en" sz="1568">
                    <a:latin typeface="Segoe UI" panose="020B0502040204020203" pitchFamily="34" charset="0"/>
                    <a:ea typeface="Quattrocento Sans"/>
                    <a:cs typeface="Segoe UI" panose="020B0502040204020203" pitchFamily="34" charset="0"/>
                    <a:sym typeface="Quattrocento Sans"/>
                  </a:rPr>
                </a:br>
                <a:r>
                  <a:rPr lang="en" sz="1568">
                    <a:latin typeface="Segoe UI" panose="020B0502040204020203" pitchFamily="34" charset="0"/>
                    <a:ea typeface="Quattrocento Sans"/>
                    <a:cs typeface="Segoe UI" panose="020B0502040204020203" pitchFamily="34" charset="0"/>
                    <a:sym typeface="Quattrocento Sans"/>
                  </a:rPr>
                  <a:t>and automation.</a:t>
                </a:r>
              </a:p>
            </p:txBody>
          </p:sp>
          <p:sp>
            <p:nvSpPr>
              <p:cNvPr id="36" name="Shape 636">
                <a:extLst>
                  <a:ext uri="{FF2B5EF4-FFF2-40B4-BE49-F238E27FC236}">
                    <a16:creationId xmlns:a16="http://schemas.microsoft.com/office/drawing/2014/main" id="{99162906-3DA2-474B-98B7-7A95319AB0D7}"/>
                  </a:ext>
                </a:extLst>
              </p:cNvPr>
              <p:cNvSpPr/>
              <p:nvPr/>
            </p:nvSpPr>
            <p:spPr>
              <a:xfrm>
                <a:off x="5170036" y="2311170"/>
                <a:ext cx="1186101" cy="1189262"/>
              </a:xfrm>
              <a:custGeom>
                <a:avLst/>
                <a:gdLst/>
                <a:ahLst/>
                <a:cxnLst/>
                <a:rect l="0" t="0" r="0" b="0"/>
                <a:pathLst>
                  <a:path w="120000" h="120000" extrusionOk="0">
                    <a:moveTo>
                      <a:pt x="61818" y="120000"/>
                    </a:moveTo>
                    <a:cubicBezTo>
                      <a:pt x="40727" y="98972"/>
                      <a:pt x="40727" y="98972"/>
                      <a:pt x="40727" y="98972"/>
                    </a:cubicBezTo>
                    <a:cubicBezTo>
                      <a:pt x="61818" y="77945"/>
                      <a:pt x="61818" y="77945"/>
                      <a:pt x="61818" y="77945"/>
                    </a:cubicBezTo>
                    <a:cubicBezTo>
                      <a:pt x="61818" y="91722"/>
                      <a:pt x="61818" y="91722"/>
                      <a:pt x="61818" y="91722"/>
                    </a:cubicBezTo>
                    <a:cubicBezTo>
                      <a:pt x="70909" y="91359"/>
                      <a:pt x="79272" y="87009"/>
                      <a:pt x="85090" y="79758"/>
                    </a:cubicBezTo>
                    <a:cubicBezTo>
                      <a:pt x="86181" y="77945"/>
                      <a:pt x="86181" y="77945"/>
                      <a:pt x="86181" y="77945"/>
                    </a:cubicBezTo>
                    <a:cubicBezTo>
                      <a:pt x="96727" y="88459"/>
                      <a:pt x="96727" y="88459"/>
                      <a:pt x="96727" y="88459"/>
                    </a:cubicBezTo>
                    <a:cubicBezTo>
                      <a:pt x="95636" y="89909"/>
                      <a:pt x="95636" y="89909"/>
                      <a:pt x="95636" y="89909"/>
                    </a:cubicBezTo>
                    <a:cubicBezTo>
                      <a:pt x="87272" y="99697"/>
                      <a:pt x="74909" y="105861"/>
                      <a:pt x="61818" y="106223"/>
                    </a:cubicBezTo>
                    <a:lnTo>
                      <a:pt x="61818" y="120000"/>
                    </a:lnTo>
                    <a:close/>
                    <a:moveTo>
                      <a:pt x="45818" y="98972"/>
                    </a:moveTo>
                    <a:cubicBezTo>
                      <a:pt x="58181" y="111661"/>
                      <a:pt x="58181" y="111661"/>
                      <a:pt x="58181" y="111661"/>
                    </a:cubicBezTo>
                    <a:cubicBezTo>
                      <a:pt x="58181" y="102960"/>
                      <a:pt x="58181" y="102960"/>
                      <a:pt x="58181" y="102960"/>
                    </a:cubicBezTo>
                    <a:cubicBezTo>
                      <a:pt x="60000" y="102960"/>
                      <a:pt x="60000" y="102960"/>
                      <a:pt x="60000" y="102960"/>
                    </a:cubicBezTo>
                    <a:cubicBezTo>
                      <a:pt x="72363" y="102960"/>
                      <a:pt x="83636" y="97885"/>
                      <a:pt x="92000" y="88821"/>
                    </a:cubicBezTo>
                    <a:cubicBezTo>
                      <a:pt x="86545" y="83383"/>
                      <a:pt x="86545" y="83383"/>
                      <a:pt x="86545" y="83383"/>
                    </a:cubicBezTo>
                    <a:cubicBezTo>
                      <a:pt x="79636" y="90996"/>
                      <a:pt x="70181" y="95347"/>
                      <a:pt x="60000" y="95347"/>
                    </a:cubicBezTo>
                    <a:cubicBezTo>
                      <a:pt x="58181" y="95347"/>
                      <a:pt x="58181" y="95347"/>
                      <a:pt x="58181" y="95347"/>
                    </a:cubicBezTo>
                    <a:cubicBezTo>
                      <a:pt x="58181" y="86646"/>
                      <a:pt x="58181" y="86646"/>
                      <a:pt x="58181" y="86646"/>
                    </a:cubicBezTo>
                    <a:lnTo>
                      <a:pt x="45818" y="98972"/>
                    </a:lnTo>
                    <a:close/>
                    <a:moveTo>
                      <a:pt x="31636" y="96435"/>
                    </a:moveTo>
                    <a:cubicBezTo>
                      <a:pt x="30181" y="95709"/>
                      <a:pt x="30181" y="95709"/>
                      <a:pt x="30181" y="95709"/>
                    </a:cubicBezTo>
                    <a:cubicBezTo>
                      <a:pt x="20000" y="87009"/>
                      <a:pt x="14181" y="74682"/>
                      <a:pt x="13818" y="61631"/>
                    </a:cubicBezTo>
                    <a:cubicBezTo>
                      <a:pt x="0" y="61631"/>
                      <a:pt x="0" y="61631"/>
                      <a:pt x="0" y="61631"/>
                    </a:cubicBezTo>
                    <a:cubicBezTo>
                      <a:pt x="21090" y="40966"/>
                      <a:pt x="21090" y="40966"/>
                      <a:pt x="21090" y="40966"/>
                    </a:cubicBezTo>
                    <a:cubicBezTo>
                      <a:pt x="41818" y="61631"/>
                      <a:pt x="41818" y="61631"/>
                      <a:pt x="41818" y="61631"/>
                    </a:cubicBezTo>
                    <a:cubicBezTo>
                      <a:pt x="28363" y="61631"/>
                      <a:pt x="28363" y="61631"/>
                      <a:pt x="28363" y="61631"/>
                    </a:cubicBezTo>
                    <a:cubicBezTo>
                      <a:pt x="28727" y="70694"/>
                      <a:pt x="33090" y="79033"/>
                      <a:pt x="40363" y="84833"/>
                    </a:cubicBezTo>
                    <a:cubicBezTo>
                      <a:pt x="41818" y="86283"/>
                      <a:pt x="41818" y="86283"/>
                      <a:pt x="41818" y="86283"/>
                    </a:cubicBezTo>
                    <a:lnTo>
                      <a:pt x="31636" y="96435"/>
                    </a:lnTo>
                    <a:close/>
                    <a:moveTo>
                      <a:pt x="8363" y="58368"/>
                    </a:moveTo>
                    <a:cubicBezTo>
                      <a:pt x="17090" y="58368"/>
                      <a:pt x="17090" y="58368"/>
                      <a:pt x="17090" y="58368"/>
                    </a:cubicBezTo>
                    <a:cubicBezTo>
                      <a:pt x="17090" y="60181"/>
                      <a:pt x="17090" y="60181"/>
                      <a:pt x="17090" y="60181"/>
                    </a:cubicBezTo>
                    <a:cubicBezTo>
                      <a:pt x="17090" y="72145"/>
                      <a:pt x="22181" y="83746"/>
                      <a:pt x="31272" y="91722"/>
                    </a:cubicBezTo>
                    <a:cubicBezTo>
                      <a:pt x="36727" y="86283"/>
                      <a:pt x="36727" y="86283"/>
                      <a:pt x="36727" y="86283"/>
                    </a:cubicBezTo>
                    <a:cubicBezTo>
                      <a:pt x="29090" y="79758"/>
                      <a:pt x="24727" y="70332"/>
                      <a:pt x="24727" y="60181"/>
                    </a:cubicBezTo>
                    <a:cubicBezTo>
                      <a:pt x="24727" y="58368"/>
                      <a:pt x="24727" y="58368"/>
                      <a:pt x="24727" y="58368"/>
                    </a:cubicBezTo>
                    <a:cubicBezTo>
                      <a:pt x="33454" y="58368"/>
                      <a:pt x="33454" y="58368"/>
                      <a:pt x="33454" y="58368"/>
                    </a:cubicBezTo>
                    <a:cubicBezTo>
                      <a:pt x="21090" y="45679"/>
                      <a:pt x="21090" y="45679"/>
                      <a:pt x="21090" y="45679"/>
                    </a:cubicBezTo>
                    <a:lnTo>
                      <a:pt x="8363" y="58368"/>
                    </a:lnTo>
                    <a:close/>
                    <a:moveTo>
                      <a:pt x="99272" y="79395"/>
                    </a:moveTo>
                    <a:cubicBezTo>
                      <a:pt x="78181" y="58368"/>
                      <a:pt x="78181" y="58368"/>
                      <a:pt x="78181" y="58368"/>
                    </a:cubicBezTo>
                    <a:cubicBezTo>
                      <a:pt x="91636" y="58368"/>
                      <a:pt x="91636" y="58368"/>
                      <a:pt x="91636" y="58368"/>
                    </a:cubicBezTo>
                    <a:cubicBezTo>
                      <a:pt x="91272" y="49305"/>
                      <a:pt x="86909" y="40966"/>
                      <a:pt x="79636" y="35166"/>
                    </a:cubicBezTo>
                    <a:cubicBezTo>
                      <a:pt x="78181" y="34078"/>
                      <a:pt x="78181" y="34078"/>
                      <a:pt x="78181" y="34078"/>
                    </a:cubicBezTo>
                    <a:cubicBezTo>
                      <a:pt x="88727" y="23564"/>
                      <a:pt x="88727" y="23564"/>
                      <a:pt x="88727" y="23564"/>
                    </a:cubicBezTo>
                    <a:cubicBezTo>
                      <a:pt x="89818" y="24652"/>
                      <a:pt x="89818" y="24652"/>
                      <a:pt x="89818" y="24652"/>
                    </a:cubicBezTo>
                    <a:cubicBezTo>
                      <a:pt x="100000" y="32990"/>
                      <a:pt x="105818" y="45317"/>
                      <a:pt x="106545" y="58368"/>
                    </a:cubicBezTo>
                    <a:cubicBezTo>
                      <a:pt x="120000" y="58368"/>
                      <a:pt x="120000" y="58368"/>
                      <a:pt x="120000" y="58368"/>
                    </a:cubicBezTo>
                    <a:lnTo>
                      <a:pt x="99272" y="79395"/>
                    </a:lnTo>
                    <a:close/>
                    <a:moveTo>
                      <a:pt x="86545" y="61631"/>
                    </a:moveTo>
                    <a:cubicBezTo>
                      <a:pt x="99272" y="74320"/>
                      <a:pt x="99272" y="74320"/>
                      <a:pt x="99272" y="74320"/>
                    </a:cubicBezTo>
                    <a:cubicBezTo>
                      <a:pt x="111636" y="61631"/>
                      <a:pt x="111636" y="61631"/>
                      <a:pt x="111636" y="61631"/>
                    </a:cubicBezTo>
                    <a:cubicBezTo>
                      <a:pt x="102909" y="61631"/>
                      <a:pt x="102909" y="61631"/>
                      <a:pt x="102909" y="61631"/>
                    </a:cubicBezTo>
                    <a:cubicBezTo>
                      <a:pt x="102909" y="60181"/>
                      <a:pt x="102909" y="60181"/>
                      <a:pt x="102909" y="60181"/>
                    </a:cubicBezTo>
                    <a:cubicBezTo>
                      <a:pt x="102909" y="47854"/>
                      <a:pt x="97818" y="36253"/>
                      <a:pt x="88727" y="28277"/>
                    </a:cubicBezTo>
                    <a:cubicBezTo>
                      <a:pt x="83272" y="33716"/>
                      <a:pt x="83272" y="33716"/>
                      <a:pt x="83272" y="33716"/>
                    </a:cubicBezTo>
                    <a:cubicBezTo>
                      <a:pt x="90909" y="40241"/>
                      <a:pt x="95272" y="50030"/>
                      <a:pt x="95272" y="60181"/>
                    </a:cubicBezTo>
                    <a:cubicBezTo>
                      <a:pt x="95272" y="61631"/>
                      <a:pt x="95272" y="61631"/>
                      <a:pt x="95272" y="61631"/>
                    </a:cubicBezTo>
                    <a:lnTo>
                      <a:pt x="86545" y="61631"/>
                    </a:lnTo>
                    <a:close/>
                    <a:moveTo>
                      <a:pt x="33818" y="42054"/>
                    </a:moveTo>
                    <a:cubicBezTo>
                      <a:pt x="23272" y="31540"/>
                      <a:pt x="23272" y="31540"/>
                      <a:pt x="23272" y="31540"/>
                    </a:cubicBezTo>
                    <a:cubicBezTo>
                      <a:pt x="24363" y="30453"/>
                      <a:pt x="24363" y="30453"/>
                      <a:pt x="24363" y="30453"/>
                    </a:cubicBezTo>
                    <a:cubicBezTo>
                      <a:pt x="33090" y="20302"/>
                      <a:pt x="45090" y="14138"/>
                      <a:pt x="58181" y="13776"/>
                    </a:cubicBezTo>
                    <a:cubicBezTo>
                      <a:pt x="58181" y="0"/>
                      <a:pt x="58181" y="0"/>
                      <a:pt x="58181" y="0"/>
                    </a:cubicBezTo>
                    <a:cubicBezTo>
                      <a:pt x="79272" y="21027"/>
                      <a:pt x="79272" y="21027"/>
                      <a:pt x="79272" y="21027"/>
                    </a:cubicBezTo>
                    <a:cubicBezTo>
                      <a:pt x="58181" y="42054"/>
                      <a:pt x="58181" y="42054"/>
                      <a:pt x="58181" y="42054"/>
                    </a:cubicBezTo>
                    <a:cubicBezTo>
                      <a:pt x="58181" y="28277"/>
                      <a:pt x="58181" y="28277"/>
                      <a:pt x="58181" y="28277"/>
                    </a:cubicBezTo>
                    <a:cubicBezTo>
                      <a:pt x="49090" y="29003"/>
                      <a:pt x="40727" y="33353"/>
                      <a:pt x="35272" y="40604"/>
                    </a:cubicBezTo>
                    <a:lnTo>
                      <a:pt x="33818" y="42054"/>
                    </a:lnTo>
                    <a:close/>
                    <a:moveTo>
                      <a:pt x="28000" y="31540"/>
                    </a:moveTo>
                    <a:cubicBezTo>
                      <a:pt x="33454" y="36978"/>
                      <a:pt x="33454" y="36978"/>
                      <a:pt x="33454" y="36978"/>
                    </a:cubicBezTo>
                    <a:cubicBezTo>
                      <a:pt x="40363" y="29365"/>
                      <a:pt x="49818" y="25015"/>
                      <a:pt x="60000" y="25015"/>
                    </a:cubicBezTo>
                    <a:cubicBezTo>
                      <a:pt x="61818" y="25015"/>
                      <a:pt x="61818" y="25015"/>
                      <a:pt x="61818" y="25015"/>
                    </a:cubicBezTo>
                    <a:cubicBezTo>
                      <a:pt x="61818" y="33716"/>
                      <a:pt x="61818" y="33716"/>
                      <a:pt x="61818" y="33716"/>
                    </a:cubicBezTo>
                    <a:cubicBezTo>
                      <a:pt x="74181" y="21027"/>
                      <a:pt x="74181" y="21027"/>
                      <a:pt x="74181" y="21027"/>
                    </a:cubicBezTo>
                    <a:cubicBezTo>
                      <a:pt x="61818" y="8700"/>
                      <a:pt x="61818" y="8700"/>
                      <a:pt x="61818" y="8700"/>
                    </a:cubicBezTo>
                    <a:cubicBezTo>
                      <a:pt x="61818" y="17401"/>
                      <a:pt x="61818" y="17401"/>
                      <a:pt x="61818" y="17401"/>
                    </a:cubicBezTo>
                    <a:cubicBezTo>
                      <a:pt x="60000" y="17401"/>
                      <a:pt x="60000" y="17401"/>
                      <a:pt x="60000" y="17401"/>
                    </a:cubicBezTo>
                    <a:cubicBezTo>
                      <a:pt x="48000" y="17401"/>
                      <a:pt x="36363" y="22477"/>
                      <a:pt x="28000" y="31540"/>
                    </a:cubicBezTo>
                    <a:close/>
                  </a:path>
                </a:pathLst>
              </a:custGeom>
              <a:solidFill>
                <a:srgbClr val="0072C6"/>
              </a:solidFill>
              <a:ln w="9525" cap="flat" cmpd="sng">
                <a:noFill/>
                <a:prstDash val="solid"/>
                <a:round/>
                <a:headEnd type="none" w="med" len="med"/>
                <a:tailEnd type="none" w="med" len="med"/>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grpSp>
        <p:grpSp>
          <p:nvGrpSpPr>
            <p:cNvPr id="60" name="Group 59">
              <a:extLst>
                <a:ext uri="{FF2B5EF4-FFF2-40B4-BE49-F238E27FC236}">
                  <a16:creationId xmlns:a16="http://schemas.microsoft.com/office/drawing/2014/main" id="{487599EA-E9C4-4B46-817D-CC9BDD7CB2E0}"/>
                </a:ext>
              </a:extLst>
            </p:cNvPr>
            <p:cNvGrpSpPr/>
            <p:nvPr/>
          </p:nvGrpSpPr>
          <p:grpSpPr>
            <a:xfrm>
              <a:off x="2754346" y="2121396"/>
              <a:ext cx="1679584" cy="3966666"/>
              <a:chOff x="2577322" y="2121396"/>
              <a:chExt cx="1679584" cy="3966666"/>
            </a:xfrm>
          </p:grpSpPr>
          <p:sp>
            <p:nvSpPr>
              <p:cNvPr id="5" name="Shape 593">
                <a:extLst>
                  <a:ext uri="{FF2B5EF4-FFF2-40B4-BE49-F238E27FC236}">
                    <a16:creationId xmlns:a16="http://schemas.microsoft.com/office/drawing/2014/main" id="{F48E40DE-0282-47B8-A9DC-3FFBD86EE46A}"/>
                  </a:ext>
                </a:extLst>
              </p:cNvPr>
              <p:cNvSpPr txBox="1"/>
              <p:nvPr/>
            </p:nvSpPr>
            <p:spPr>
              <a:xfrm>
                <a:off x="2577322" y="3868858"/>
                <a:ext cx="1679584"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a:latin typeface="Segoe UI" panose="020B0502040204020203" pitchFamily="34" charset="0"/>
                    <a:ea typeface="Quattrocento Sans"/>
                    <a:cs typeface="Segoe UI" panose="020B0502040204020203" pitchFamily="34" charset="0"/>
                    <a:sym typeface="Quattrocento Sans"/>
                  </a:rPr>
                </a:br>
                <a:r>
                  <a:rPr lang="en" sz="1568" spc="59">
                    <a:latin typeface="Segoe UI" panose="020B0502040204020203" pitchFamily="34" charset="0"/>
                    <a:ea typeface="Quattrocento Sans"/>
                    <a:cs typeface="Segoe UI" panose="020B0502040204020203" pitchFamily="34" charset="0"/>
                    <a:sym typeface="Quattrocento Sans"/>
                  </a:rPr>
                  <a:t>Move to </a:t>
                </a:r>
                <a:r>
                  <a:rPr lang="en-US" sz="1568" spc="59">
                    <a:latin typeface="Segoe UI" panose="020B0502040204020203" pitchFamily="34" charset="0"/>
                    <a:ea typeface="Quattrocento Sans"/>
                    <a:cs typeface="Segoe UI" panose="020B0502040204020203" pitchFamily="34" charset="0"/>
                    <a:sym typeface="Quattrocento Sans"/>
                  </a:rPr>
                  <a:t>the</a:t>
                </a:r>
                <a:r>
                  <a:rPr lang="en-US" sz="1568">
                    <a:latin typeface="Segoe UI" panose="020B0502040204020203" pitchFamily="34" charset="0"/>
                    <a:ea typeface="Quattrocento Sans"/>
                    <a:cs typeface="Segoe UI" panose="020B0502040204020203" pitchFamily="34" charset="0"/>
                    <a:sym typeface="Quattrocento Sans"/>
                  </a:rPr>
                  <a:t> </a:t>
                </a:r>
                <a:r>
                  <a:rPr lang="en" sz="1568">
                    <a:latin typeface="Segoe UI" panose="020B0502040204020203" pitchFamily="34" charset="0"/>
                    <a:ea typeface="Quattrocento Sans"/>
                    <a:cs typeface="Segoe UI" panose="020B0502040204020203" pitchFamily="34" charset="0"/>
                    <a:sym typeface="Quattrocento Sans"/>
                  </a:rPr>
                  <a:t>cloud </a:t>
                </a:r>
                <a:r>
                  <a:rPr lang="en-US" sz="1568">
                    <a:latin typeface="Segoe UI" panose="020B0502040204020203" pitchFamily="34" charset="0"/>
                    <a:ea typeface="Quattrocento Sans"/>
                    <a:cs typeface="Segoe UI" panose="020B0502040204020203" pitchFamily="34" charset="0"/>
                    <a:sym typeface="Quattrocento Sans"/>
                  </a:rPr>
                  <a:t>as VMs</a:t>
                </a:r>
                <a:br>
                  <a:rPr lang="en-US" sz="1568">
                    <a:latin typeface="Segoe UI" panose="020B0502040204020203" pitchFamily="34" charset="0"/>
                    <a:ea typeface="Quattrocento Sans"/>
                    <a:cs typeface="Segoe UI" panose="020B0502040204020203" pitchFamily="34" charset="0"/>
                    <a:sym typeface="Quattrocento Sans"/>
                  </a:rPr>
                </a:br>
                <a:r>
                  <a:rPr lang="en-US" sz="1568">
                    <a:latin typeface="Segoe UI" panose="020B0502040204020203" pitchFamily="34" charset="0"/>
                    <a:ea typeface="Quattrocento Sans"/>
                    <a:cs typeface="Segoe UI" panose="020B0502040204020203" pitchFamily="34" charset="0"/>
                    <a:sym typeface="Quattrocento Sans"/>
                  </a:rPr>
                  <a:t>or Containers</a:t>
                </a:r>
                <a:br>
                  <a:rPr lang="en" sz="1568">
                    <a:latin typeface="Segoe UI" panose="020B0502040204020203" pitchFamily="34" charset="0"/>
                    <a:ea typeface="Quattrocento Sans"/>
                    <a:cs typeface="Segoe UI" panose="020B0502040204020203" pitchFamily="34" charset="0"/>
                    <a:sym typeface="Quattrocento Sans"/>
                  </a:rPr>
                </a:br>
                <a:r>
                  <a:rPr lang="en" sz="1568" spc="-29">
                    <a:latin typeface="Segoe UI" panose="020B0502040204020203" pitchFamily="34" charset="0"/>
                    <a:ea typeface="Quattrocento Sans"/>
                    <a:cs typeface="Segoe UI" panose="020B0502040204020203" pitchFamily="34" charset="0"/>
                    <a:sym typeface="Quattrocento Sans"/>
                  </a:rPr>
                  <a:t>or refresh HW.</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3037408" y="2121396"/>
                <a:ext cx="759412" cy="1421741"/>
                <a:chOff x="4011246" y="1986834"/>
                <a:chExt cx="603200" cy="1129165"/>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4019546" y="2413400"/>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4011246" y="198683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3" name="Shape 642">
              <a:extLst>
                <a:ext uri="{FF2B5EF4-FFF2-40B4-BE49-F238E27FC236}">
                  <a16:creationId xmlns:a16="http://schemas.microsoft.com/office/drawing/2014/main" id="{8CB5483B-4DBD-471C-A618-513B6FAA8211}"/>
                </a:ext>
              </a:extLst>
            </p:cNvPr>
            <p:cNvSpPr/>
            <p:nvPr/>
          </p:nvSpPr>
          <p:spPr>
            <a:xfrm>
              <a:off x="4471597" y="2807068"/>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9342437" y="280246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7719572" y="2473959"/>
              <a:ext cx="1469075" cy="3614103"/>
              <a:chOff x="7324725" y="2473959"/>
              <a:chExt cx="1469075" cy="3614103"/>
            </a:xfrm>
          </p:grpSpPr>
          <p:sp>
            <p:nvSpPr>
              <p:cNvPr id="45" name="Shape 592">
                <a:extLst>
                  <a:ext uri="{FF2B5EF4-FFF2-40B4-BE49-F238E27FC236}">
                    <a16:creationId xmlns:a16="http://schemas.microsoft.com/office/drawing/2014/main" id="{3C902DDB-EA12-488C-BDE0-CC27606CC65F}"/>
                  </a:ext>
                </a:extLst>
              </p:cNvPr>
              <p:cNvSpPr txBox="1"/>
              <p:nvPr/>
            </p:nvSpPr>
            <p:spPr>
              <a:xfrm>
                <a:off x="7324725" y="3868858"/>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Re-architect</a:t>
                </a:r>
                <a:r>
                  <a:rPr lang="en-US" sz="1568">
                    <a:latin typeface="Segoe UI" panose="020B0502040204020203" pitchFamily="34" charset="0"/>
                    <a:ea typeface="Quattrocento Sans"/>
                    <a:cs typeface="Segoe UI" panose="020B0502040204020203" pitchFamily="34" charset="0"/>
                    <a:sym typeface="Quattrocento Sans"/>
                  </a:rPr>
                  <a:t> apps for scale </a:t>
                </a:r>
                <a:r>
                  <a:rPr lang="en-US" sz="1568" spc="-59">
                    <a:latin typeface="Segoe UI" panose="020B0502040204020203" pitchFamily="34" charset="0"/>
                    <a:ea typeface="Quattrocento Sans"/>
                    <a:cs typeface="Segoe UI" panose="020B0502040204020203" pitchFamily="34" charset="0"/>
                    <a:sym typeface="Quattrocento Sans"/>
                  </a:rPr>
                  <a:t>with containers.</a:t>
                </a:r>
                <a:endParaRPr lang="en" sz="1568" spc="-59">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7593807" y="2473959"/>
                <a:ext cx="930910" cy="859134"/>
                <a:chOff x="7660749" y="2473959"/>
                <a:chExt cx="930910" cy="859134"/>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7660749" y="2473959"/>
                  <a:ext cx="772717" cy="758548"/>
                  <a:chOff x="-633412" y="107156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455612"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361937"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54823"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168268" y="1227024"/>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8157435" y="289880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8268696" y="2962895"/>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6998150" y="2770326"/>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spTree>
    <p:extLst>
      <p:ext uri="{BB962C8B-B14F-4D97-AF65-F5344CB8AC3E}">
        <p14:creationId xmlns:p14="http://schemas.microsoft.com/office/powerpoint/2010/main" val="16715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8311</TotalTime>
  <Words>16015</Words>
  <Application>Microsoft Office PowerPoint</Application>
  <PresentationFormat>Widescreen</PresentationFormat>
  <Paragraphs>1913</Paragraphs>
  <Slides>134</Slides>
  <Notes>134</Notes>
  <HiddenSlides>1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34</vt:i4>
      </vt:variant>
    </vt:vector>
  </HeadingPairs>
  <TitlesOfParts>
    <vt:vector size="167"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Azure Container</vt:lpstr>
      <vt:lpstr>PowerPoint Presentation</vt:lpstr>
      <vt:lpstr>Table of contents</vt:lpstr>
      <vt:lpstr>Containers 101</vt:lpstr>
      <vt:lpstr>PowerPoint Presentation</vt:lpstr>
      <vt:lpstr>PowerPoint Presentation</vt:lpstr>
      <vt:lpstr>PowerPoint Presentation</vt:lpstr>
      <vt:lpstr>Microservices</vt:lpstr>
      <vt:lpstr>From traditional app to modern app</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li Hussain</cp:lastModifiedBy>
  <cp:revision>145</cp:revision>
  <dcterms:created xsi:type="dcterms:W3CDTF">2017-09-13T18:05:02Z</dcterms:created>
  <dcterms:modified xsi:type="dcterms:W3CDTF">2018-08-28T21:4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lhussai@microsoft.com</vt:lpwstr>
  </property>
  <property fmtid="{D5CDD505-2E9C-101B-9397-08002B2CF9AE}" pid="5" name="MSIP_Label_f42aa342-8706-4288-bd11-ebb85995028c_SetDate">
    <vt:lpwstr>2018-03-05T08:19:21.00913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